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8"/>
  </p:notesMasterIdLst>
  <p:handoutMasterIdLst>
    <p:handoutMasterId r:id="rId9"/>
  </p:handoutMasterIdLst>
  <p:sldIdLst>
    <p:sldId id="384" r:id="rId7"/>
  </p:sldIdLst>
  <p:sldSz cx="9906000" cy="6858000" type="A4"/>
  <p:notesSz cx="6797675" cy="9874250"/>
  <p:custDataLst>
    <p:tags r:id="rId10"/>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8">
          <p15:clr>
            <a:srgbClr val="A4A3A4"/>
          </p15:clr>
        </p15:guide>
        <p15:guide id="2" orient="horz" pos="3886">
          <p15:clr>
            <a:srgbClr val="A4A3A4"/>
          </p15:clr>
        </p15:guide>
        <p15:guide id="3" pos="6089">
          <p15:clr>
            <a:srgbClr val="A4A3A4"/>
          </p15:clr>
        </p15:guide>
        <p15:guide id="4" pos="153">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04" autoAdjust="0"/>
    <p:restoredTop sz="94621" autoAdjust="0"/>
  </p:normalViewPr>
  <p:slideViewPr>
    <p:cSldViewPr snapToGrid="0">
      <p:cViewPr varScale="1">
        <p:scale>
          <a:sx n="74" d="100"/>
          <a:sy n="74" d="100"/>
        </p:scale>
        <p:origin x="1308" y="72"/>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5/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16" name="think-cell Slide" r:id="rId10" imgW="360" imgH="360" progId="">
                  <p:embed/>
                </p:oleObj>
              </mc:Choice>
              <mc:Fallback>
                <p:oleObj name="think-cell Slide" r:id="rId10" imgW="360" imgH="360" progId="">
                  <p:embed/>
                  <p:pic>
                    <p:nvPicPr>
                      <p:cNvPr id="0" name="Picture 4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8989" name="think-cell Slide" r:id="rId6" imgW="360" imgH="360" progId="">
                  <p:embed/>
                </p:oleObj>
              </mc:Choice>
              <mc:Fallback>
                <p:oleObj name="think-cell Slide" r:id="rId6" imgW="360" imgH="360" progId="">
                  <p:embed/>
                  <p:pic>
                    <p:nvPicPr>
                      <p:cNvPr id="0" name="Picture 19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60"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76"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33"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52" name="think-cell Slide" r:id="rId4" imgW="360" imgH="360" progId="">
                  <p:embed/>
                </p:oleObj>
              </mc:Choice>
              <mc:Fallback>
                <p:oleObj name="think-cell Slide" r:id="rId4" imgW="360" imgH="360" progId="">
                  <p:embed/>
                  <p:pic>
                    <p:nvPicPr>
                      <p:cNvPr id="0" name="Picture 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60" name="think-cell Slide" r:id="rId12" imgW="360" imgH="360" progId="">
                  <p:embed/>
                </p:oleObj>
              </mc:Choice>
              <mc:Fallback>
                <p:oleObj name="think-cell Slide" r:id="rId12" imgW="360" imgH="360" progId="">
                  <p:embed/>
                  <p:pic>
                    <p:nvPicPr>
                      <p:cNvPr id="0" name="Picture 19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24" name="think-cell Slide" r:id="rId17" imgW="360" imgH="360" progId="">
                  <p:embed/>
                </p:oleObj>
              </mc:Choice>
              <mc:Fallback>
                <p:oleObj name="think-cell Slide" r:id="rId17" imgW="360" imgH="360" progId="">
                  <p:embed/>
                  <p:pic>
                    <p:nvPicPr>
                      <p:cNvPr id="0" name="Picture 19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29"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3973574" y="0"/>
            <a:ext cx="563376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smtClean="0">
                <a:ln>
                  <a:noFill/>
                </a:ln>
                <a:solidFill>
                  <a:schemeClr val="tx1"/>
                </a:solidFill>
                <a:effectLst/>
                <a:uLnTx/>
                <a:uFillTx/>
                <a:latin typeface="+mn-lt"/>
                <a:ea typeface="+mj-ea"/>
                <a:cs typeface="Arial"/>
              </a:rPr>
              <a:t>Bharath B S</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sz="1800" b="1" i="1" u="none" strike="noStrike" kern="1200" cap="none" spc="0" normalizeH="0" baseline="0" noProof="0" dirty="0" smtClean="0">
                <a:ln>
                  <a:noFill/>
                </a:ln>
                <a:solidFill>
                  <a:schemeClr val="tx1"/>
                </a:solidFill>
                <a:effectLst/>
                <a:uLnTx/>
                <a:uFillTx/>
                <a:latin typeface="+mn-lt"/>
                <a:ea typeface="+mj-ea"/>
                <a:cs typeface="Arial"/>
              </a:rPr>
              <a:t>Cloud Infra Service India</a:t>
            </a:r>
            <a:endParaRPr kumimoji="0" lang="en-GB" sz="1800"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extLst>
              <p:ext uri="{D42A27DB-BD31-4B8C-83A1-F6EECF244321}">
                <p14:modId xmlns:p14="http://schemas.microsoft.com/office/powerpoint/2010/main" val="3301484814"/>
              </p:ext>
            </p:extLst>
          </p:nvPr>
        </p:nvGraphicFramePr>
        <p:xfrm>
          <a:off x="0" y="1428057"/>
          <a:ext cx="1318161" cy="1908909"/>
        </p:xfrm>
        <a:graphic>
          <a:graphicData uri="http://schemas.openxmlformats.org/drawingml/2006/table">
            <a:tbl>
              <a:tblPr firstRow="1" bandRow="1">
                <a:tableStyleId>{5C22544A-7EE6-4342-B048-85BDC9FD1C3A}</a:tableStyleId>
              </a:tblPr>
              <a:tblGrid>
                <a:gridCol w="1318161"/>
              </a:tblGrid>
              <a:tr h="1908909">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759088234"/>
              </p:ext>
            </p:extLst>
          </p:nvPr>
        </p:nvGraphicFramePr>
        <p:xfrm>
          <a:off x="1282535" y="1428057"/>
          <a:ext cx="2713401" cy="2128437"/>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nalyst/Software 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 Kannada, Telugu</a:t>
                      </a: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800" b="1" i="1" dirty="0" smtClean="0">
                          <a:solidFill>
                            <a:schemeClr val="bg1">
                              <a:lumMod val="50000"/>
                            </a:schemeClr>
                          </a:solidFill>
                          <a:latin typeface="+mn-lt"/>
                        </a:rPr>
                        <a:t>NA</a:t>
                      </a: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356253114"/>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smtClean="0">
                          <a:solidFill>
                            <a:srgbClr val="585858"/>
                          </a:solidFill>
                          <a:latin typeface="+mn-lt"/>
                          <a:ea typeface="Tahoma" pitchFamily="34" charset="0"/>
                          <a:cs typeface="Tahoma" pitchFamily="34" charset="0"/>
                        </a:rPr>
                        <a:t> </a:t>
                      </a:r>
                      <a:endParaRPr lang="en-US" sz="1000" b="0" i="0" dirty="0" smtClean="0">
                        <a:solidFill>
                          <a:srgbClr val="585858"/>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Infrastructure Tools – </a:t>
                      </a:r>
                      <a:r>
                        <a:rPr lang="en-US" sz="1000" b="0" i="1" dirty="0" err="1" smtClean="0">
                          <a:solidFill>
                            <a:srgbClr val="585858"/>
                          </a:solidFill>
                          <a:latin typeface="+mn-lt"/>
                        </a:rPr>
                        <a:t>Vmware</a:t>
                      </a:r>
                      <a:r>
                        <a:rPr lang="en-US" sz="1000" b="0" i="1" dirty="0" smtClean="0">
                          <a:solidFill>
                            <a:srgbClr val="585858"/>
                          </a:solidFill>
                          <a:latin typeface="+mn-lt"/>
                        </a:rPr>
                        <a:t> </a:t>
                      </a:r>
                      <a:r>
                        <a:rPr lang="en-US" sz="1000" b="0" i="1" kern="1200" dirty="0" smtClean="0">
                          <a:solidFill>
                            <a:schemeClr val="tx1"/>
                          </a:solidFill>
                          <a:latin typeface="+mn-lt"/>
                          <a:ea typeface="+mn-ea"/>
                          <a:cs typeface="+mn-cs"/>
                        </a:rPr>
                        <a:t>(</a:t>
                      </a:r>
                      <a:r>
                        <a:rPr lang="en-US" sz="1000" b="0" i="1" kern="1200" dirty="0" err="1" smtClean="0">
                          <a:solidFill>
                            <a:schemeClr val="tx1"/>
                          </a:solidFill>
                          <a:latin typeface="+mn-lt"/>
                          <a:ea typeface="+mn-ea"/>
                          <a:cs typeface="+mn-cs"/>
                        </a:rPr>
                        <a:t>vCenter</a:t>
                      </a:r>
                      <a:r>
                        <a:rPr lang="en-US" sz="1000" b="0" i="1" kern="1200" dirty="0" smtClean="0">
                          <a:solidFill>
                            <a:schemeClr val="tx1"/>
                          </a:solidFill>
                          <a:latin typeface="+mn-lt"/>
                          <a:ea typeface="+mn-ea"/>
                          <a:cs typeface="+mn-cs"/>
                        </a:rPr>
                        <a:t>, </a:t>
                      </a:r>
                      <a:r>
                        <a:rPr lang="en-US" sz="1000" b="0" i="1" kern="1200" dirty="0" err="1" smtClean="0">
                          <a:solidFill>
                            <a:schemeClr val="tx1"/>
                          </a:solidFill>
                          <a:latin typeface="+mn-lt"/>
                          <a:ea typeface="+mn-ea"/>
                          <a:cs typeface="+mn-cs"/>
                        </a:rPr>
                        <a:t>vRA</a:t>
                      </a:r>
                      <a:r>
                        <a:rPr lang="en-US" sz="1000" b="0" i="1" kern="1200" dirty="0" smtClean="0">
                          <a:solidFill>
                            <a:schemeClr val="tx1"/>
                          </a:solidFill>
                          <a:latin typeface="+mn-lt"/>
                          <a:ea typeface="+mn-ea"/>
                          <a:cs typeface="+mn-cs"/>
                        </a:rPr>
                        <a:t>/</a:t>
                      </a:r>
                      <a:r>
                        <a:rPr lang="en-US" sz="1000" b="0" i="1" kern="1200" dirty="0" err="1" smtClean="0">
                          <a:solidFill>
                            <a:schemeClr val="tx1"/>
                          </a:solidFill>
                          <a:latin typeface="+mn-lt"/>
                          <a:ea typeface="+mn-ea"/>
                          <a:cs typeface="+mn-cs"/>
                        </a:rPr>
                        <a:t>vRO</a:t>
                      </a:r>
                      <a:r>
                        <a:rPr lang="en-US" sz="1000" b="0" i="1" kern="1200" dirty="0" smtClean="0">
                          <a:solidFill>
                            <a:schemeClr val="tx1"/>
                          </a:solidFill>
                          <a:latin typeface="+mn-lt"/>
                          <a:ea typeface="+mn-ea"/>
                          <a:cs typeface="+mn-cs"/>
                        </a:rPr>
                        <a:t>, vSphere)</a:t>
                      </a:r>
                      <a:r>
                        <a:rPr lang="en-US" sz="1000" b="0" i="1" dirty="0" smtClean="0">
                          <a:solidFill>
                            <a:schemeClr val="tx1"/>
                          </a:solidFill>
                        </a:rPr>
                        <a:t> </a:t>
                      </a:r>
                      <a:endParaRPr lang="en-US" sz="1000" b="0" i="1" dirty="0" smtClean="0">
                        <a:solidFill>
                          <a:srgbClr val="585858"/>
                        </a:solidFill>
                        <a:latin typeface="+mn-lt"/>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CI/CD Tools – Jenkins, </a:t>
                      </a:r>
                      <a:r>
                        <a:rPr lang="en-US" sz="1000" b="0" i="1" dirty="0" err="1" smtClean="0">
                          <a:solidFill>
                            <a:srgbClr val="585858"/>
                          </a:solidFill>
                          <a:latin typeface="+mn-lt"/>
                        </a:rPr>
                        <a:t>Git</a:t>
                      </a:r>
                      <a:endParaRPr lang="en-US" sz="1000" b="0" i="1" dirty="0" smtClean="0">
                        <a:solidFill>
                          <a:srgbClr val="585858"/>
                        </a:solidFill>
                        <a:latin typeface="+mn-lt"/>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Programming Languages – Core Java</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Scripting Languages</a:t>
                      </a:r>
                      <a:r>
                        <a:rPr lang="en-US" sz="1000" b="0" i="1" baseline="0" dirty="0" smtClean="0">
                          <a:solidFill>
                            <a:srgbClr val="585858"/>
                          </a:solidFill>
                          <a:latin typeface="+mn-lt"/>
                        </a:rPr>
                        <a:t> – Power shell, Java script and Pytho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Database – Oracle 10g</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Operating System – Windows and Linux</a:t>
                      </a:r>
                      <a:endParaRPr lang="en-US" sz="1000" b="0" i="1" dirty="0" smtClean="0">
                        <a:solidFill>
                          <a:srgbClr val="585858"/>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4188507046"/>
              </p:ext>
            </p:extLst>
          </p:nvPr>
        </p:nvGraphicFramePr>
        <p:xfrm>
          <a:off x="6757059" y="1428058"/>
          <a:ext cx="3148941" cy="3777475"/>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lgn="l">
                        <a:buFont typeface="Arial" pitchFamily="34" charset="0"/>
                        <a:buNone/>
                      </a:pPr>
                      <a:r>
                        <a:rPr lang="en-US" sz="1000" b="0" i="1" dirty="0" err="1" smtClean="0">
                          <a:solidFill>
                            <a:srgbClr val="585858"/>
                          </a:solidFill>
                          <a:latin typeface="+mn-lt"/>
                          <a:ea typeface="Tahoma" pitchFamily="34" charset="0"/>
                          <a:cs typeface="Tahoma" pitchFamily="34" charset="0"/>
                        </a:rPr>
                        <a:t>Git</a:t>
                      </a:r>
                      <a:r>
                        <a:rPr lang="en-US" sz="1000" b="0" i="1" dirty="0" smtClean="0">
                          <a:solidFill>
                            <a:srgbClr val="585858"/>
                          </a:solidFill>
                          <a:latin typeface="+mn-lt"/>
                          <a:ea typeface="Tahoma" pitchFamily="34" charset="0"/>
                          <a:cs typeface="Tahoma" pitchFamily="34" charset="0"/>
                        </a:rPr>
                        <a:t>,</a:t>
                      </a:r>
                      <a:r>
                        <a:rPr lang="en-US" sz="1000" b="0" i="1" baseline="0" dirty="0" smtClean="0">
                          <a:solidFill>
                            <a:srgbClr val="585858"/>
                          </a:solidFill>
                          <a:latin typeface="+mn-lt"/>
                          <a:ea typeface="Tahoma" pitchFamily="34" charset="0"/>
                          <a:cs typeface="Tahoma" pitchFamily="34" charset="0"/>
                        </a:rPr>
                        <a:t> Amazon Web Services, Linux Commands,</a:t>
                      </a:r>
                    </a:p>
                    <a:p>
                      <a:pPr marL="119063" indent="-119063" algn="l">
                        <a:buFont typeface="Arial" pitchFamily="34" charset="0"/>
                        <a:buNone/>
                      </a:pPr>
                      <a:r>
                        <a:rPr lang="en-US" sz="1000" b="0" i="1" baseline="0" dirty="0" smtClean="0">
                          <a:solidFill>
                            <a:srgbClr val="585858"/>
                          </a:solidFill>
                          <a:latin typeface="+mn-lt"/>
                          <a:ea typeface="Tahoma" pitchFamily="34" charset="0"/>
                          <a:cs typeface="Tahoma" pitchFamily="34" charset="0"/>
                        </a:rPr>
                        <a:t>Jenkins Operation, Java and Manual Testing.</a:t>
                      </a:r>
                      <a:endParaRPr lang="en-US" sz="1000" b="0" dirty="0" smtClean="0">
                        <a:solidFill>
                          <a:srgbClr val="585858"/>
                        </a:solidFill>
                        <a:latin typeface="+mn-lt"/>
                      </a:endParaRPr>
                    </a:p>
                    <a:p>
                      <a:pPr marL="119063" indent="-119063">
                        <a:buFont typeface="Arial" pitchFamily="34" charset="0"/>
                        <a:buNone/>
                      </a:pP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Amazon</a:t>
                      </a:r>
                      <a:r>
                        <a:rPr lang="en-US" sz="1000" i="1" baseline="0" dirty="0" smtClean="0">
                          <a:solidFill>
                            <a:srgbClr val="585858"/>
                          </a:solidFill>
                        </a:rPr>
                        <a:t> Partner Network Business Professional.</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Amazon Partner Network Technical Professional</a:t>
                      </a:r>
                      <a:endParaRPr lang="en-US" sz="1000" i="1" dirty="0" smtClean="0">
                        <a:solidFill>
                          <a:srgbClr val="585858"/>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AWS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DevOps</a:t>
                      </a:r>
                      <a:r>
                        <a:rPr lang="en-US" sz="1000" i="1" baseline="0" dirty="0" smtClean="0">
                          <a:solidFill>
                            <a:srgbClr val="585858"/>
                          </a:solidFill>
                        </a:rPr>
                        <a:t> </a:t>
                      </a:r>
                      <a:r>
                        <a:rPr lang="en-US" sz="1000" i="1" baseline="0" dirty="0" err="1" smtClean="0">
                          <a:solidFill>
                            <a:srgbClr val="585858"/>
                          </a:solidFill>
                        </a:rPr>
                        <a:t>Trainin</a:t>
                      </a:r>
                      <a:endParaRPr lang="en-US" sz="1000" i="1" baseline="0" dirty="0" smtClean="0">
                        <a:solidFill>
                          <a:srgbClr val="585858"/>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VMware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Agile Scrum </a:t>
                      </a:r>
                      <a:r>
                        <a:rPr lang="en-US" sz="1000" i="1" baseline="0" dirty="0" smtClean="0">
                          <a:solidFill>
                            <a:srgbClr val="585858"/>
                          </a:solidFill>
                        </a:rPr>
                        <a:t>Training</a:t>
                      </a:r>
                    </a:p>
                    <a:p>
                      <a:pPr marL="0" marR="0" lvl="0" indent="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i="1" baseline="0" dirty="0" smtClean="0">
                        <a:solidFill>
                          <a:srgbClr val="585858"/>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endParaRPr lang="en-US" sz="1000" i="1" baseline="0" dirty="0" smtClean="0">
                        <a:solidFill>
                          <a:srgbClr val="585858"/>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endParaRPr lang="en-US" sz="1000" i="1" dirty="0" smtClean="0">
                        <a:solidFill>
                          <a:srgbClr val="585858"/>
                        </a:solidFill>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2239619967"/>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marL="0" marR="0" lvl="0" indent="0" algn="l" defTabSz="872667" rtl="0" eaLnBrk="1" fontAlgn="auto" latinLnBrk="0" hangingPunct="1">
                        <a:lnSpc>
                          <a:spcPct val="100000"/>
                        </a:lnSpc>
                        <a:spcBef>
                          <a:spcPts val="0"/>
                        </a:spcBef>
                        <a:spcAft>
                          <a:spcPts val="0"/>
                        </a:spcAft>
                        <a:buClrTx/>
                        <a:buSzTx/>
                        <a:buFontTx/>
                        <a:buNone/>
                        <a:tabLst/>
                        <a:defRPr/>
                      </a:pPr>
                      <a:r>
                        <a:rPr lang="en-US" sz="1000" i="1" dirty="0" err="1" smtClean="0">
                          <a:solidFill>
                            <a:srgbClr val="585858"/>
                          </a:solidFill>
                          <a:latin typeface="+mn-lt"/>
                          <a:ea typeface="Tahoma" pitchFamily="34" charset="0"/>
                          <a:cs typeface="Tahoma" pitchFamily="34" charset="0"/>
                        </a:rPr>
                        <a:t>Jr.Software</a:t>
                      </a:r>
                      <a:r>
                        <a:rPr lang="en-US" sz="1000" i="1" dirty="0" smtClean="0">
                          <a:solidFill>
                            <a:srgbClr val="585858"/>
                          </a:solidFill>
                          <a:latin typeface="+mn-lt"/>
                          <a:ea typeface="Tahoma" pitchFamily="34" charset="0"/>
                          <a:cs typeface="Tahoma" pitchFamily="34" charset="0"/>
                        </a:rPr>
                        <a:t> Engineer with a proven experience of 4+</a:t>
                      </a:r>
                      <a:r>
                        <a:rPr lang="en-US" sz="1000" i="1" baseline="0" dirty="0" smtClean="0">
                          <a:solidFill>
                            <a:srgbClr val="585858"/>
                          </a:solidFill>
                          <a:latin typeface="+mn-lt"/>
                          <a:ea typeface="Tahoma" pitchFamily="34" charset="0"/>
                          <a:cs typeface="Tahoma" pitchFamily="34" charset="0"/>
                        </a:rPr>
                        <a:t> month in Cloud Infra Service. </a:t>
                      </a:r>
                      <a:r>
                        <a:rPr lang="en-US" sz="1000" b="0" i="1" dirty="0" smtClean="0">
                          <a:solidFill>
                            <a:srgbClr val="585858"/>
                          </a:solidFill>
                          <a:latin typeface="+mn-lt"/>
                          <a:ea typeface="+mn-ea"/>
                          <a:cs typeface="+mn-cs"/>
                        </a:rPr>
                        <a:t>I</a:t>
                      </a:r>
                      <a:r>
                        <a:rPr lang="en-US" sz="1000" b="0" i="1" baseline="0" dirty="0" smtClean="0">
                          <a:solidFill>
                            <a:srgbClr val="585858"/>
                          </a:solidFill>
                          <a:latin typeface="+mn-lt"/>
                          <a:ea typeface="+mn-ea"/>
                          <a:cs typeface="+mn-cs"/>
                        </a:rPr>
                        <a:t> had practical experience on Amazon Web Services(EC2,EFS,S3,DynamoDB,VPC,RedShift). Also I have worked on DevOps like GIT hub and Jenkins(How to create Users, Manage, Assign Roles and Jobs).  I have created Virtual Machines in vSphere and managed IT services through </a:t>
                      </a:r>
                      <a:r>
                        <a:rPr lang="en-US" sz="1000" b="0" i="1" baseline="0" dirty="0" err="1" smtClean="0">
                          <a:solidFill>
                            <a:srgbClr val="585858"/>
                          </a:solidFill>
                          <a:latin typeface="+mn-lt"/>
                          <a:ea typeface="+mn-ea"/>
                          <a:cs typeface="+mn-cs"/>
                        </a:rPr>
                        <a:t>vCenter</a:t>
                      </a:r>
                      <a:r>
                        <a:rPr lang="en-US" sz="1000" b="0" i="1" baseline="0" dirty="0" smtClean="0">
                          <a:solidFill>
                            <a:srgbClr val="585858"/>
                          </a:solidFill>
                          <a:latin typeface="+mn-lt"/>
                          <a:ea typeface="+mn-ea"/>
                          <a:cs typeface="+mn-cs"/>
                        </a:rPr>
                        <a:t> </a:t>
                      </a:r>
                      <a:r>
                        <a:rPr lang="en-US" sz="1050" b="0" i="1" baseline="0" dirty="0" smtClean="0">
                          <a:solidFill>
                            <a:srgbClr val="585858"/>
                          </a:solidFill>
                          <a:latin typeface="+mn-lt"/>
                          <a:ea typeface="+mn-ea"/>
                          <a:cs typeface="+mn-cs"/>
                        </a:rPr>
                        <a:t>.</a:t>
                      </a:r>
                      <a:r>
                        <a:rPr lang="en-US" sz="1000" b="0" i="1" baseline="0" dirty="0" smtClean="0">
                          <a:solidFill>
                            <a:srgbClr val="585858"/>
                          </a:solidFill>
                          <a:latin typeface="+mn-lt"/>
                          <a:ea typeface="+mn-ea"/>
                          <a:cs typeface="+mn-cs"/>
                        </a:rPr>
                        <a:t> Also hands on experience on Linux commands, PowerShell and shell scripting.</a:t>
                      </a:r>
                      <a:endParaRPr lang="en-US" sz="1050" b="0" i="1" kern="1200" dirty="0" smtClean="0">
                        <a:solidFill>
                          <a:srgbClr val="585858"/>
                        </a:solidFill>
                        <a:latin typeface="+mn-lt"/>
                        <a:ea typeface="Tahoma" pitchFamily="34" charset="0"/>
                        <a:cs typeface="Tahoma" pitchFamily="34" charset="0"/>
                      </a:endParaRPr>
                    </a:p>
                    <a:p>
                      <a:pPr marL="0" marR="0" lvl="0" indent="0" algn="l" defTabSz="872667" rtl="0" eaLnBrk="1" fontAlgn="auto" latinLnBrk="0" hangingPunct="1">
                        <a:lnSpc>
                          <a:spcPct val="100000"/>
                        </a:lnSpc>
                        <a:spcBef>
                          <a:spcPts val="0"/>
                        </a:spcBef>
                        <a:spcAft>
                          <a:spcPts val="0"/>
                        </a:spcAft>
                        <a:buClrTx/>
                        <a:buSzTx/>
                        <a:buFontTx/>
                        <a:buNone/>
                        <a:tabLst/>
                        <a:defRPr/>
                      </a:pPr>
                      <a:endParaRPr lang="en-US" sz="1000" i="1" dirty="0" smtClean="0">
                        <a:solidFill>
                          <a:srgbClr val="585858"/>
                        </a:solidFill>
                        <a:latin typeface="+mn-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210860725"/>
              </p:ext>
            </p:extLst>
          </p:nvPr>
        </p:nvGraphicFramePr>
        <p:xfrm>
          <a:off x="0" y="4635795"/>
          <a:ext cx="9906000" cy="1755517"/>
        </p:xfrm>
        <a:graphic>
          <a:graphicData uri="http://schemas.openxmlformats.org/drawingml/2006/table">
            <a:tbl>
              <a:tblPr/>
              <a:tblGrid>
                <a:gridCol w="9906000"/>
              </a:tblGrid>
              <a:tr h="185440">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US" sz="1000" b="1" i="1" dirty="0" smtClean="0">
                        <a:solidFill>
                          <a:srgbClr val="585858"/>
                        </a:solidFill>
                        <a:latin typeface="+mn-lt"/>
                        <a:ea typeface="Tahoma" pitchFamily="34" charset="0"/>
                        <a:cs typeface="Tahoma" pitchFamily="34" charset="0"/>
                      </a:endParaRPr>
                    </a:p>
                    <a:p>
                      <a:pPr algn="l"/>
                      <a:r>
                        <a:rPr lang="en-US" sz="1000" b="1" i="1" dirty="0" smtClean="0">
                          <a:solidFill>
                            <a:srgbClr val="585858"/>
                          </a:solidFill>
                          <a:latin typeface="+mn-lt"/>
                          <a:ea typeface="Tahoma" pitchFamily="34" charset="0"/>
                          <a:cs typeface="Tahoma" pitchFamily="34" charset="0"/>
                        </a:rPr>
                        <a:t>Capgemini</a:t>
                      </a:r>
                      <a:r>
                        <a:rPr lang="en-US" sz="1000" b="1" i="1" baseline="0" dirty="0" smtClean="0">
                          <a:solidFill>
                            <a:srgbClr val="585858"/>
                          </a:solidFill>
                          <a:latin typeface="+mn-lt"/>
                          <a:ea typeface="Tahoma" pitchFamily="34" charset="0"/>
                          <a:cs typeface="Tahoma" pitchFamily="34" charset="0"/>
                        </a:rPr>
                        <a:t> India</a:t>
                      </a:r>
                      <a:r>
                        <a:rPr lang="en-US" sz="1000" b="1" i="1" dirty="0" smtClean="0">
                          <a:solidFill>
                            <a:srgbClr val="585858"/>
                          </a:solidFill>
                          <a:latin typeface="+mn-lt"/>
                          <a:ea typeface="Tahoma" pitchFamily="34" charset="0"/>
                          <a:cs typeface="Tahoma" pitchFamily="34" charset="0"/>
                        </a:rPr>
                        <a:t>	Jan 2017– till date	Working as a Analyst for Cloud Infrastructure Service Team.</a:t>
                      </a:r>
                    </a:p>
                    <a:p>
                      <a:pPr algn="l"/>
                      <a:endParaRPr lang="en-US" sz="1000" dirty="0" smtClean="0">
                        <a:solidFill>
                          <a:schemeClr val="tx1"/>
                        </a:solidFill>
                        <a:latin typeface="Tahoma" pitchFamily="34" charset="0"/>
                        <a:ea typeface="Tahoma" pitchFamily="34" charset="0"/>
                        <a:cs typeface="Tahoma" pitchFamily="34" charset="0"/>
                      </a:endParaRPr>
                    </a:p>
                    <a:p>
                      <a:pPr algn="l">
                        <a:spcAft>
                          <a:spcPts val="0"/>
                        </a:spcAft>
                      </a:pPr>
                      <a:endParaRPr lang="en-GB" sz="1000" kern="1200" dirty="0" smtClean="0">
                        <a:solidFill>
                          <a:schemeClr val="tx1"/>
                        </a:solidFill>
                        <a:latin typeface="+mn-lt"/>
                        <a:ea typeface="+mn-ea"/>
                        <a:cs typeface="Calibri" pitchFamily="34" charset="0"/>
                      </a:endParaRP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pic>
        <p:nvPicPr>
          <p:cNvPr id="9" name="Picture 8"/>
          <p:cNvPicPr>
            <a:picLocks noChangeAspect="1"/>
          </p:cNvPicPr>
          <p:nvPr/>
        </p:nvPicPr>
        <p:blipFill>
          <a:blip r:embed="rId2"/>
          <a:stretch>
            <a:fillRect/>
          </a:stretch>
        </p:blipFill>
        <p:spPr>
          <a:xfrm>
            <a:off x="0" y="1436326"/>
            <a:ext cx="1270861" cy="1900640"/>
          </a:xfrm>
          <a:prstGeom prst="rect">
            <a:avLst/>
          </a:prstGeom>
        </p:spPr>
      </p:pic>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07E7C3-94EB-4E47-9C2D-5916D142080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5F71490-274B-4708-973C-E7D4A002A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EA84D-C7AA-4832-8AC2-F537029F53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PO WinCenter_PPTtemplate_EDGE.potx</Template>
  <TotalTime>2579</TotalTime>
  <Words>173</Words>
  <Application>Microsoft Office PowerPoint</Application>
  <PresentationFormat>A4 Paper (210x297 mm)</PresentationFormat>
  <Paragraphs>43</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Tahoma</vt:lpstr>
      <vt:lpstr>Wingdings</vt: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B.S., Bharath</cp:lastModifiedBy>
  <cp:revision>235</cp:revision>
  <dcterms:created xsi:type="dcterms:W3CDTF">2012-06-20T17:22:58Z</dcterms:created>
  <dcterms:modified xsi:type="dcterms:W3CDTF">2017-06-05T09:4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